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B74665E8-ECFA-4B7E-AF83-3DFCDDD700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D0CABA7D-8BFE-4DC1-A295-63F529AD6D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84A332D4-6CC5-4205-B435-7C17235B70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4</c:v>
                </c:pt>
                <c:pt idx="1">
                  <c:v>0.31</c:v>
                </c:pt>
                <c:pt idx="2">
                  <c:v>0.35</c:v>
                </c:pt>
                <c:pt idx="3">
                  <c:v>0.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4%</c:v>
                  </c:pt>
                  <c:pt idx="1">
                    <c:v>31%</c:v>
                  </c:pt>
                  <c:pt idx="2">
                    <c:v>35%</c:v>
                  </c:pt>
                  <c:pt idx="3">
                    <c:v>10%</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D92E75FD-CBB7-4D45-B7BB-4C4DFCE015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AD0C2E89-046F-4AFF-A6A5-694FC6368C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8C20DF6A-DE5C-428C-902B-91B736DCBD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09</c:v>
                </c:pt>
                <c:pt idx="2">
                  <c:v>0.51</c:v>
                </c:pt>
                <c:pt idx="3">
                  <c:v>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9%</c:v>
                  </c:pt>
                  <c:pt idx="2">
                    <c:v>51%</c:v>
                  </c:pt>
                  <c:pt idx="3">
                    <c:v>40%</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7</c:v>
                </c:pt>
                <c:pt idx="1">
                  <c:v>0.89</c:v>
                </c:pt>
                <c:pt idx="2">
                  <c:v>0.88</c:v>
                </c:pt>
                <c:pt idx="3">
                  <c:v>0.9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057C0686-F66F-47DD-BFDF-8727A8B62E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4AEC82EF-8D22-4280-B880-04E034AE048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390123D8-E01F-4793-BB30-FE60BB892C8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3</c:v>
                </c:pt>
                <c:pt idx="1">
                  <c:v>0.11</c:v>
                </c:pt>
                <c:pt idx="2">
                  <c:v>0.12</c:v>
                </c:pt>
                <c:pt idx="3">
                  <c:v>0.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7%</c:v>
                  </c:pt>
                  <c:pt idx="1">
                    <c:v>89%</c:v>
                  </c:pt>
                  <c:pt idx="2">
                    <c:v>88%</c:v>
                  </c:pt>
                  <c:pt idx="3">
                    <c:v>92%</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8</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219CC3E8-51ED-400D-8FF0-BD19E67AAB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5BEE88BC-BCDD-4DEC-8ABC-ACF055E9149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EC6C53FB-74B7-4676-BEC8-A6F22BBCC8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03502C8D-1306-4B4C-AAF7-0B52E521D88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2</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9</c:v>
                </c:pt>
                <c:pt idx="1">
                  <c:v>0.8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7CDC0EB1-910C-441A-BA29-9D4E0182EE6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4AE2DF3E-077B-4F97-9409-19901155F4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AC405CBF-2CB8-4828-B478-D088E90D4BB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2979EF54-FAB9-4399-907D-15AAF0E7F0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1</c:v>
                </c:pt>
                <c:pt idx="1">
                  <c:v>0.1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9%</c:v>
                  </c:pt>
                  <c:pt idx="1">
                    <c:v>88%</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99698C99-DC90-4A53-842F-962181AEF46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00533540-C92D-45EA-AD5B-33CA593282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8%</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8%</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4</c:v>
                </c:pt>
                <c:pt idx="1">
                  <c:v>0.87</c:v>
                </c:pt>
                <c:pt idx="2">
                  <c:v>0.88</c:v>
                </c:pt>
                <c:pt idx="3">
                  <c:v>0.91</c:v>
                </c:pt>
                <c:pt idx="4">
                  <c:v>0.8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BFB58530-9AA1-4B3C-A150-43C52288C5C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2E7FC965-A973-48CB-BB88-33D85700DE8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670E41C9-7349-4DB1-AF06-0BD03ECFBC7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FDD18FB8-391A-4014-AA9C-A2488A46AC1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6</c:v>
                </c:pt>
                <c:pt idx="1">
                  <c:v>0.13</c:v>
                </c:pt>
                <c:pt idx="2">
                  <c:v>0.12</c:v>
                </c:pt>
                <c:pt idx="3">
                  <c:v>0.09</c:v>
                </c:pt>
                <c:pt idx="4">
                  <c:v>0.1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87%</c:v>
                  </c:pt>
                  <c:pt idx="2">
                    <c:v>88%</c:v>
                  </c:pt>
                  <c:pt idx="3">
                    <c:v>91%</c:v>
                  </c:pt>
                  <c:pt idx="4">
                    <c:v>84%</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c:v>
                </c:pt>
                <c:pt idx="2">
                  <c:v>0.9</c:v>
                </c:pt>
                <c:pt idx="3">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6AE80E26-1985-41B8-8E88-9F3DE5511BB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7FF69384-B7D1-41A4-B7CE-2F7F6DDAD41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AD052047-B671-43D4-89E7-9E7B4029C64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c:v>
                </c:pt>
                <c:pt idx="2">
                  <c:v>0.1</c:v>
                </c:pt>
                <c:pt idx="3">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0%</c:v>
                  </c:pt>
                  <c:pt idx="2">
                    <c:v>90%</c:v>
                  </c:pt>
                  <c:pt idx="3">
                    <c:v>86%</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1</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7B0EA50C-0D91-44B9-89E6-00B24DEF656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3EF7EF21-9D9F-4E16-90C0-9A6C9173A0C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B563648A-4631-4B6D-ACB3-C4EDA16CA35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CD55E395-92B7-4164-8708-DD5261952A3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c:v>
                  </c:pt>
                  <c:pt idx="2">
                    <c:v>100%</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4</c:v>
                </c:pt>
                <c:pt idx="1">
                  <c:v>0.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EAADB87C-8A14-4EC4-B5AF-A07A55416A2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B7A02486-7505-4153-8097-D8808397979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D8F8D8CD-2DFF-40B5-8DB0-AC08A7D61A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FEFDA742-7207-47DD-9040-CAFE041B21C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6</c:v>
                </c:pt>
                <c:pt idx="1">
                  <c:v>0.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90%</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42583A55-FC4F-41A4-9B9F-5368231BD97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E3C5D4D3-0029-480B-BD64-11C4947DCBF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8%</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1</c:v>
                </c:pt>
                <c:pt idx="1">
                  <c:v>92</c:v>
                </c:pt>
                <c:pt idx="2">
                  <c:v>2</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5</c:v>
                </c:pt>
                <c:pt idx="1">
                  <c:v>4</c:v>
                </c:pt>
                <c:pt idx="2">
                  <c:v>1</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4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115E-48E7-9278-D03DDCBD9794}"/>
                </c:ext>
              </c:extLst>
            </c:dLbl>
            <c:dLbl>
              <c:idx val="1"/>
              <c:tx>
                <c:rich>
                  <a:bodyPr/>
                  <a:lstStyle/>
                  <a:p>
                    <a:fld id="{7360791B-D3AF-41D3-A48A-415FE5B2B4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525935AF-5FA2-4CD2-A8E5-936535A9B7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9E6CEE2C-75F8-4C79-9044-40BB215DBB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4B63984E-96CB-4E63-BF6C-0A12A00D79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FD6AB748-7D75-4C50-BE19-1F0D426C04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EE2580D9-BADE-4BB3-A169-CA6F81BC68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7</c:v>
                </c:pt>
                <c:pt idx="1">
                  <c:v>5</c:v>
                </c:pt>
                <c:pt idx="2">
                  <c:v>2</c:v>
                </c:pt>
                <c:pt idx="3">
                  <c:v>2</c:v>
                </c:pt>
                <c:pt idx="4">
                  <c:v>2</c:v>
                </c:pt>
                <c:pt idx="5">
                  <c:v>4</c:v>
                </c:pt>
                <c:pt idx="6">
                  <c:v>4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7%q</c:v>
                  </c:pt>
                  <c:pt idx="1">
                    <c:v>5%</c:v>
                  </c:pt>
                  <c:pt idx="2">
                    <c:v>2%</c:v>
                  </c:pt>
                  <c:pt idx="3">
                    <c:v>2%</c:v>
                  </c:pt>
                  <c:pt idx="4">
                    <c:v>2%</c:v>
                  </c:pt>
                  <c:pt idx="5">
                    <c:v>4%</c:v>
                  </c:pt>
                  <c:pt idx="6">
                    <c:v>43%</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A2182758-C5F3-44C5-A27A-EBB2AC257A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125ADADA-60AA-4F7A-841E-B8FF87CDA74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5A40DF8B-9C13-4A74-82E4-445C3371B2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AD831B29-48AB-458E-B6A5-84CCB7C6DD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FDD6C1AB-79B1-4E8A-8AE3-87ACA619C6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E6C7C504-A8FE-4DE9-8D04-B632498DD1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9</c:v>
                </c:pt>
                <c:pt idx="2">
                  <c:v>2</c:v>
                </c:pt>
                <c:pt idx="3">
                  <c:v>3</c:v>
                </c:pt>
                <c:pt idx="4">
                  <c:v>11</c:v>
                </c:pt>
                <c:pt idx="5">
                  <c:v>4</c:v>
                </c:pt>
                <c:pt idx="6">
                  <c:v>3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9%</c:v>
                  </c:pt>
                  <c:pt idx="1">
                    <c:v>9%</c:v>
                  </c:pt>
                  <c:pt idx="2">
                    <c:v>2%</c:v>
                  </c:pt>
                  <c:pt idx="3">
                    <c:v>3%</c:v>
                  </c:pt>
                  <c:pt idx="4">
                    <c:v>11%</c:v>
                  </c:pt>
                  <c:pt idx="5">
                    <c:v>4%</c:v>
                  </c:pt>
                  <c:pt idx="6">
                    <c:v>35%</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8D97C160-7A34-4E9A-86DF-A04E13DD68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22DF776A-8BF4-4E26-986D-E7A8119BBC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81D587A9-9B90-4AF8-9A3B-228DE33EE2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CF6D6939-BE51-4603-8759-6A84C6D870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FAE24364-585E-470C-AF0D-510B993D43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591B6DAD-2192-4386-8C05-6122A7779D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3F53752F-CE90-4D22-ADAC-CA0B35367B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003816AC-53EB-41A0-BFC0-05B64CBD7A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4088041D-9FB3-4BEB-BC96-5831A143BC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1A31E376-AE49-4110-9A90-6B778DACD8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000000000000005</c:v>
                </c:pt>
                <c:pt idx="1">
                  <c:v>0.43</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43301A01-9590-45CC-AE70-2DF24B22F0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B28E60AC-FD3A-43DB-B123-5B1EB47D5F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1568E4C3-F99E-49C6-B2E9-1448E7F59A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22562546-6802-4F83-9F33-CEAB1248C55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9C238D47-25C6-4118-840D-413AA2888B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97CFC816-0023-4BF6-9D3C-444C401172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5</c:v>
                </c:pt>
                <c:pt idx="1">
                  <c:v>7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5%</c:v>
                  </c:pt>
                  <c:pt idx="1">
                    <c:v>75%</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6B86620A-E483-4DBE-89EC-12F52552B5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77A5DB52-5091-4A45-8DC7-7815F7E7B1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21E7887D-40FE-4E72-93B0-FD65BC6986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07E6EB93-943B-45C3-BDB5-130D5DE7C1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8483D1A8-BE51-4FC0-BF66-4757BE5605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1CF3EED9-252F-4227-B156-A64AC7FEC9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8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3623E70F-1EFF-4E08-BA00-5104B4EBDD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463BE33F-547A-4786-B766-2EEC804A62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93BFCF45-5C19-45A6-B75A-AEA9A1BEAB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4</c:v>
                </c:pt>
                <c:pt idx="1">
                  <c:v>94</c:v>
                </c:pt>
                <c:pt idx="2">
                  <c:v>85</c:v>
                </c:pt>
                <c:pt idx="3">
                  <c:v>80</c:v>
                </c:pt>
                <c:pt idx="4">
                  <c:v>94</c:v>
                </c:pt>
                <c:pt idx="5">
                  <c:v>36</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4%</c:v>
                  </c:pt>
                  <c:pt idx="1">
                    <c:v>94%</c:v>
                  </c:pt>
                  <c:pt idx="2">
                    <c:v>85%p</c:v>
                  </c:pt>
                  <c:pt idx="3">
                    <c:v>80%p</c:v>
                  </c:pt>
                  <c:pt idx="4">
                    <c:v>94%</c:v>
                  </c:pt>
                  <c:pt idx="5">
                    <c:v>36%</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9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E36-4621-A2A8-3ADDA83CA04C}"/>
                </c:ext>
              </c:extLst>
            </c:dLbl>
            <c:dLbl>
              <c:idx val="2"/>
              <c:tx>
                <c:rich>
                  <a:bodyPr/>
                  <a:lstStyle/>
                  <a:p>
                    <a:fld id="{F86D100E-5A4C-4326-B841-3BC945DD91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7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7732953F-C0BE-4B5E-895E-A2620AFFC4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144D2A02-F0B3-44CC-BCFD-48A0837671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D293D0C7-3A39-4C33-846D-AAF69C58C0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90</c:v>
                </c:pt>
                <c:pt idx="1">
                  <c:v>95</c:v>
                </c:pt>
                <c:pt idx="2">
                  <c:v>68</c:v>
                </c:pt>
                <c:pt idx="3">
                  <c:v>74</c:v>
                </c:pt>
                <c:pt idx="4">
                  <c:v>91</c:v>
                </c:pt>
                <c:pt idx="5">
                  <c:v>47</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90%p</c:v>
                  </c:pt>
                  <c:pt idx="1">
                    <c:v>95%p</c:v>
                  </c:pt>
                  <c:pt idx="2">
                    <c:v>68%</c:v>
                  </c:pt>
                  <c:pt idx="3">
                    <c:v>74%p</c:v>
                  </c:pt>
                  <c:pt idx="4">
                    <c:v>91%</c:v>
                  </c:pt>
                  <c:pt idx="5">
                    <c:v>47%</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5</c:v>
                </c:pt>
                <c:pt idx="1">
                  <c:v>32</c:v>
                </c:pt>
                <c:pt idx="2">
                  <c:v>8</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4</c:v>
                </c:pt>
                <c:pt idx="1">
                  <c:v>30</c:v>
                </c:pt>
                <c:pt idx="2">
                  <c:v>12</c:v>
                </c:pt>
                <c:pt idx="3">
                  <c:v>4</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40798011-1298-4556-9151-285F66F0D3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96CECAA7-5688-4DD6-915F-204D16FFB2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186F4E3F-3CEC-4625-AB36-FCA035F964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D073B1B6-CF00-442F-9F33-3B0FC0D610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5</c:v>
                </c:pt>
                <c:pt idx="2">
                  <c:v>6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5</c:v>
                </c:pt>
                <c:pt idx="1">
                  <c:v>45</c:v>
                </c:pt>
                <c:pt idx="2">
                  <c:v>5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4</c:v>
                </c:pt>
                <c:pt idx="2">
                  <c:v>30</c:v>
                </c:pt>
                <c:pt idx="3">
                  <c:v>17</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9</c:v>
                </c:pt>
                <c:pt idx="1">
                  <c:v>22</c:v>
                </c:pt>
                <c:pt idx="2">
                  <c:v>18</c:v>
                </c:pt>
                <c:pt idx="3">
                  <c:v>18</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06</c:v>
                </c:pt>
                <c:pt idx="1">
                  <c:v>0.18099999999999999</c:v>
                </c:pt>
                <c:pt idx="2">
                  <c:v>0.377</c:v>
                </c:pt>
                <c:pt idx="3">
                  <c:v>0.23100000000000001</c:v>
                </c:pt>
                <c:pt idx="4">
                  <c:v>0.10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0100000000000001</c:v>
                </c:pt>
                <c:pt idx="1">
                  <c:v>0.24299999999999999</c:v>
                </c:pt>
                <c:pt idx="2">
                  <c:v>0.372</c:v>
                </c:pt>
                <c:pt idx="3">
                  <c:v>0.219</c:v>
                </c:pt>
                <c:pt idx="4">
                  <c:v>6.5000000000000002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3</c:v>
                </c:pt>
                <c:pt idx="1">
                  <c:v>10</c:v>
                </c:pt>
                <c:pt idx="2">
                  <c:v>26</c:v>
                </c:pt>
                <c:pt idx="3">
                  <c:v>25</c:v>
                </c:pt>
                <c:pt idx="4">
                  <c:v>3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6</c:v>
                </c:pt>
                <c:pt idx="2">
                  <c:v>20</c:v>
                </c:pt>
                <c:pt idx="3">
                  <c:v>20</c:v>
                </c:pt>
                <c:pt idx="4">
                  <c:v>3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23</c:v>
                </c:pt>
                <c:pt idx="2">
                  <c:v>24</c:v>
                </c:pt>
                <c:pt idx="3">
                  <c:v>21</c:v>
                </c:pt>
                <c:pt idx="4">
                  <c:v>2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0</c:v>
                </c:pt>
                <c:pt idx="1">
                  <c:v>26</c:v>
                </c:pt>
                <c:pt idx="2">
                  <c:v>18</c:v>
                </c:pt>
                <c:pt idx="3">
                  <c:v>13</c:v>
                </c:pt>
                <c:pt idx="4">
                  <c:v>1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E7224D63-535A-43BC-B136-B3602ED7BB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A4F86D7D-85D7-47C4-BB9E-EB260390AC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F32962B2-43AA-4E89-A830-14CE4836F4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302F0B1B-78A5-4B15-AD1F-58C3BC8D5A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8</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8%</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8204E66F-0925-42E4-8DBE-E6ADFCCA8C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E562058F-87C4-4019-8AC0-BCAE7D1143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D3E9BBEB-E32A-451A-8A47-BB8CBD87EF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47A19B38-A1E7-4113-82C5-133042C440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5</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5%</c:v>
                  </c:pt>
                  <c:pt idx="1">
                    <c:v>-</c:v>
                  </c:pt>
                  <c:pt idx="2">
                    <c:v>-</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c:v>
                </c:pt>
                <c:pt idx="1">
                  <c:v>9</c:v>
                </c:pt>
                <c:pt idx="2">
                  <c:v>28</c:v>
                </c:pt>
                <c:pt idx="3">
                  <c:v>19</c:v>
                </c:pt>
                <c:pt idx="4">
                  <c:v>4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7</c:v>
                </c:pt>
                <c:pt idx="2">
                  <c:v>18</c:v>
                </c:pt>
                <c:pt idx="3">
                  <c:v>15</c:v>
                </c:pt>
                <c:pt idx="4">
                  <c:v>3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6</c:v>
                </c:pt>
                <c:pt idx="1">
                  <c:v>21</c:v>
                </c:pt>
                <c:pt idx="2">
                  <c:v>41</c:v>
                </c:pt>
                <c:pt idx="3">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3</c:v>
                </c:pt>
                <c:pt idx="1">
                  <c:v>32</c:v>
                </c:pt>
                <c:pt idx="2">
                  <c:v>33</c:v>
                </c:pt>
                <c:pt idx="3">
                  <c:v>1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40</c:v>
                </c:pt>
                <c:pt idx="2">
                  <c:v>11</c:v>
                </c:pt>
                <c:pt idx="3">
                  <c:v>3</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71</c:v>
                </c:pt>
                <c:pt idx="1">
                  <c:v>21</c:v>
                </c:pt>
                <c:pt idx="2">
                  <c:v>6</c:v>
                </c:pt>
                <c:pt idx="3">
                  <c:v>2</c:v>
                </c:pt>
                <c:pt idx="4">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53</c:v>
                </c:pt>
                <c:pt idx="2">
                  <c:v>12</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41</c:v>
                </c:pt>
                <c:pt idx="1">
                  <c:v>43</c:v>
                </c:pt>
                <c:pt idx="2">
                  <c:v>13</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DCA48201-456E-4B85-8953-6E175CF3BC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14DC24F5-7621-46E4-88C9-7AB2B8CE00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C19015B1-3830-4D97-A2FE-EDCBA3B2F5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A6A48031-F9BC-4763-8A12-E2A93006B6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5%</c:v>
                  </c:pt>
                  <c:pt idx="1">
                    <c:v>15%</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F27AA7A6-92A4-4592-926E-16F2D21147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3%</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CFB6-49AC-A845-714BC7862DE1}"/>
                </c:ext>
              </c:extLst>
            </c:dLbl>
            <c:dLbl>
              <c:idx val="1"/>
              <c:tx>
                <c:rich>
                  <a:bodyPr/>
                  <a:lstStyle/>
                  <a:p>
                    <a:r>
                      <a:rPr lang="en-GB"/>
                      <a:t>2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3%p</c:v>
                  </c:pt>
                  <c:pt idx="1">
                    <c:v>27%q</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5ADEBB69-9D30-40DB-92D5-02B7A7A9B0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C6E6A9C7-0781-4862-A991-761DC43EE3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B00CB532-C788-42E6-8DC3-C4D83D8BD1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D747A74F-C008-42E0-A0EA-9FE869F74D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8%</c:v>
                  </c:pt>
                  <c:pt idx="1">
                    <c:v>62%</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68667D87-6558-46D0-9E33-86E0AAB5C1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244F6739-A2F3-437E-8757-FC35C58E0A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29169146-0D30-40CC-93E7-E9C42B89C5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EDCB958E-0624-4B0F-B80C-868CFCD024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9%</c:v>
                  </c:pt>
                  <c:pt idx="1">
                    <c:v>51%</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BDF7A7AE-6217-4F55-B206-FC2B6741B0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1DD-430C-8FF3-E4B09270E25F}"/>
                </c:ext>
              </c:extLst>
            </c:dLbl>
            <c:dLbl>
              <c:idx val="1"/>
              <c:tx>
                <c:rich>
                  <a:bodyPr/>
                  <a:lstStyle/>
                  <a:p>
                    <a:r>
                      <a:rPr lang="en-GB"/>
                      <a:t>5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1%p</c:v>
                  </c:pt>
                  <c:pt idx="1">
                    <c:v>59%q</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46F331DB-ABC9-4F9F-83EB-5E0F1CDDC5E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F4B5BD9E-236E-496D-985B-D2BE0755BC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5%</c:v>
                  </c:pt>
                  <c:pt idx="1">
                    <c:v>15%</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1C48F6FF-CFE7-47B3-B682-79AEEBEE2C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5F047A30-9979-4B46-9BB8-DAC397545D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4%</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2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p</c:v>
                  </c:pt>
                  <c:pt idx="1">
                    <c:v>26%q</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D7C159BF-0259-4B37-BE1C-8D5706EF03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074A006C-89AD-4ADB-86D9-116261C607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0</c:v>
                </c:pt>
                <c:pt idx="1">
                  <c:v>5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0%</c:v>
                  </c:pt>
                  <c:pt idx="1">
                    <c:v>50%</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9108CA60-1476-4BF9-A876-AD5FB4163A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C29E43F7-F7B1-41C9-8F50-E08BDC964F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A2B4D376-AA34-489F-8016-405B7684D4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9</c:v>
                </c:pt>
                <c:pt idx="1">
                  <c:v>31</c:v>
                </c:pt>
                <c:pt idx="2">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6</c:v>
                </c:pt>
                <c:pt idx="1">
                  <c:v>55</c:v>
                </c:pt>
                <c:pt idx="2">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437D11C2-D700-4935-B5E2-63A7C339A6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r>
                      <a:rPr lang="en-GB"/>
                      <a:t>5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519-4C1F-9643-9A55D10271AC}"/>
                </c:ext>
              </c:extLst>
            </c:dLbl>
            <c:dLbl>
              <c:idx val="3"/>
              <c:tx>
                <c:rich>
                  <a:bodyPr/>
                  <a:lstStyle/>
                  <a:p>
                    <a:fld id="{1E207D55-9E85-49DE-B5BD-98C6EABA59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F3F3E24B-AFAC-4875-879A-102B52AD73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3F822EA3-0D7C-4171-BD8A-485F2E9243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r>
                      <a:rPr lang="en-GB"/>
                      <a:t>1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0</c:v>
                </c:pt>
                <c:pt idx="1">
                  <c:v>4</c:v>
                </c:pt>
                <c:pt idx="2">
                  <c:v>56</c:v>
                </c:pt>
                <c:pt idx="3">
                  <c:v>32</c:v>
                </c:pt>
                <c:pt idx="4">
                  <c:v>15</c:v>
                </c:pt>
                <c:pt idx="5">
                  <c:v>14</c:v>
                </c:pt>
                <c:pt idx="6">
                  <c:v>1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0%</c:v>
                  </c:pt>
                  <c:pt idx="1">
                    <c:v>4%</c:v>
                  </c:pt>
                  <c:pt idx="2">
                    <c:v>56%q</c:v>
                  </c:pt>
                  <c:pt idx="3">
                    <c:v>32%</c:v>
                  </c:pt>
                  <c:pt idx="4">
                    <c:v>15%</c:v>
                  </c:pt>
                  <c:pt idx="5">
                    <c:v>14%</c:v>
                  </c:pt>
                  <c:pt idx="6">
                    <c:v>12%p</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22%</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121A-46C7-99A3-C7EC76CE57AC}"/>
                </c:ext>
              </c:extLst>
            </c:dLbl>
            <c:dLbl>
              <c:idx val="1"/>
              <c:tx>
                <c:rich>
                  <a:bodyPr/>
                  <a:lstStyle/>
                  <a:p>
                    <a:fld id="{20A79977-410B-4C4F-8002-BC75DDB9C9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5A0BC60E-09BE-48F0-B612-55612F577C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8F2C6FDD-DD77-4F87-8A92-1FD704F718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6A1B9C67-7A93-4F1B-ABA8-AD7B8051DB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E4546519-67A2-49EA-8504-6CA9474FCE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r>
                      <a:rPr lang="en-GB"/>
                      <a:t>1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2</c:v>
                </c:pt>
                <c:pt idx="1">
                  <c:v>16</c:v>
                </c:pt>
                <c:pt idx="2">
                  <c:v>34</c:v>
                </c:pt>
                <c:pt idx="3">
                  <c:v>43</c:v>
                </c:pt>
                <c:pt idx="4">
                  <c:v>8</c:v>
                </c:pt>
                <c:pt idx="5">
                  <c:v>12</c:v>
                </c:pt>
                <c:pt idx="6">
                  <c:v>1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2%q</c:v>
                  </c:pt>
                  <c:pt idx="1">
                    <c:v>16%</c:v>
                  </c:pt>
                  <c:pt idx="2">
                    <c:v>34%</c:v>
                  </c:pt>
                  <c:pt idx="3">
                    <c:v>43%</c:v>
                  </c:pt>
                  <c:pt idx="4">
                    <c:v>8%</c:v>
                  </c:pt>
                  <c:pt idx="5">
                    <c:v>12%</c:v>
                  </c:pt>
                  <c:pt idx="6">
                    <c:v>15%p</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5</c:v>
                </c:pt>
                <c:pt idx="2">
                  <c:v>6</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2</c:v>
                </c:pt>
                <c:pt idx="1">
                  <c:v>33</c:v>
                </c:pt>
                <c:pt idx="2">
                  <c:v>4</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9%</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1</c:v>
                </c:pt>
                <c:pt idx="1">
                  <c:v>0.86</c:v>
                </c:pt>
                <c:pt idx="2">
                  <c:v>0.89</c:v>
                </c:pt>
                <c:pt idx="3">
                  <c:v>0.89</c:v>
                </c:pt>
                <c:pt idx="4">
                  <c:v>0.7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0B29C2C2-FB4A-4487-A739-C8355DB6FEF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AF7BBFDB-6E95-4F25-9545-478232A9193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82634980-C04A-4D78-809C-002A2F6A2E1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618EF104-6F6B-47E0-B4D9-1F906D19B1D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c:v>
                </c:pt>
                <c:pt idx="1">
                  <c:v>0.14000000000000001</c:v>
                </c:pt>
                <c:pt idx="2">
                  <c:v>0.11</c:v>
                </c:pt>
                <c:pt idx="3">
                  <c:v>0.11</c:v>
                </c:pt>
                <c:pt idx="4">
                  <c:v>0.2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100%</c:v>
                  </c:pt>
                  <c:pt idx="1">
                    <c:v>86%</c:v>
                  </c:pt>
                  <c:pt idx="2">
                    <c:v>89%</c:v>
                  </c:pt>
                  <c:pt idx="3">
                    <c:v>89%</c:v>
                  </c:pt>
                  <c:pt idx="4">
                    <c:v>77%</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MERSET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MERSET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MERSET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MERSET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MERSET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SOMERSET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14457855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
Having a urine test as part of their last annual review
Describing their experience at the last annual review as good</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21266006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15261322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medicine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158831017"/>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OMERSE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8336799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77465654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5% of respondents who were marked as Type 1 in the sample selected ‘Type 1’, 4% selected ‘Type 2’, 1% selected ‘Other’ and -% selected ‘I don’t know’ ​</a:t>
            </a:r>
          </a:p>
          <a:p>
            <a:pPr marL="171450" indent="-171450">
              <a:buFont typeface="Arial" panose="020B0604020202020204" pitchFamily="34" charset="0"/>
              <a:buChar char="•"/>
              <a:defRPr/>
            </a:pPr>
            <a:r>
              <a:rPr lang="en-GB" sz="1200" dirty="0">
                <a:solidFill>
                  <a:schemeClr val="tx1"/>
                </a:solidFill>
                <a:effectLst/>
              </a:rPr>
              <a:t>92% of respondents who were marked as Type 2 in the sample selected ‘Type 2’, 1% selected ‘Type 1’, 2%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22); Type 2, ICS (591)).</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994990674"/>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936967851"/>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430306705"/>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1356510267"/>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6783305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64); Type 2, National (19,941), ICS (478))</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31741075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11232799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55); Type 2, National (22,278), ICS (558))</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58834895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65235797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16); Type 2, National (21,082), ICS (518))</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53331149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426525623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20); Type 2, National (24,180), ICS (591))</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804628600"/>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353647045"/>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08372309"/>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308387278"/>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154684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4); Type 2, National (22,482), ICS (553))</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90412027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8087945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45005899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55853792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70932743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45912978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30448786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99768912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427647617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6); Type 2, National (22,670), ICS (551))</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10193634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55488045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81224360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24496323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74632686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71816340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225234764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01637138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7607301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20); Type 2, National (24,076), ICS (584))</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63155420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15817241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09771953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51078351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344593177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65387890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06379481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8979205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22); Type 2, National (24,153), ICS (586))</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427517156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62918138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393116770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025305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331351351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75949500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55929220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4453876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75289713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22); Type 2, National (24,135), ICS (58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32414145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63287344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56232152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16058729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69291700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55618216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42829039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51821970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06763271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20); Type 2, National (24,084), ICS (58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45889811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93243731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04537768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8521711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9752777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385192919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4185099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51029459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47568135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21); Type 2, National (24,070), ICS (58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16616549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4231497275"/>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54297216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756150078"/>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403903689"/>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84652684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940065897"/>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78387573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47996724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21); Type 2, National (24,260), ICS (588))</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83825487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46413846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73576568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46477371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29392330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84758476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53852921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09864086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58221293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22); Type 2, National (24,267), ICS (587))</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52807182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59005612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187213074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98192872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53701277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396134522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7181608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8903310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30895326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22); Type 2, National (24,196), ICS (58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07645839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68462992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63763138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22); Type 2, National (24,019), ICS (585))</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83999160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89558725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22); Type 2, National (11,860), ICS (322))</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403553447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31754938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03); Type 2, National (21,228), ICS (50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0923332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9790280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1); Type 2, National (20,915), ICS (474))</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08291849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07539740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75); Type 2, National (20,086), ICS (467))</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279043132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86621220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6); Type 2, National (21,890), ICS (513))</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84940197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80114382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60); Type 2, National (18,585), ICS (423))</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56794544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169830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8821383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13293159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81688295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83633426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7597584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322905847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02); Type 2, National (22,580), ICS (556))</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5983848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982970157"/>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91452912"/>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4188253085"/>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247937263"/>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7555045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79); Type 2, National (12,350), ICS (259))</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95280493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3604099688"/>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81139275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76799601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45738139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68599120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8042323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21101818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12); Type 2, National (10,911), ICS (24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65851239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03279036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297510756"/>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452481660"/>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973702284"/>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302774967"/>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349324190"/>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02))</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63029318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273905658"/>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247902983"/>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260266500"/>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679087736"/>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699289097"/>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50))</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SOMERSET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258</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16</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5%</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22</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94</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73</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85</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822954287"/>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2955154851"/>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852503319"/>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402082574"/>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789717641"/>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4233889543"/>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571952028"/>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OMERSE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76499844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blood pressure check as part of their last annual review
Having a urine test as part of their last annual review
Describing their experience at the last annual review as good</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860572210"/>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444654250"/>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with eating well
Healthcare professionals providing support with emotional and mental health need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9249702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6</TotalTime>
  <Words>5363</Words>
  <Application>Microsoft Office PowerPoint</Application>
  <PresentationFormat>Widescreen</PresentationFormat>
  <Paragraphs>813</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Roboto</vt:lpstr>
      <vt:lpstr>HelveticaNeueLT Std Lt Cn</vt:lpstr>
      <vt:lpstr>Arial</vt:lpstr>
      <vt:lpstr>Arial (Body)</vt:lpstr>
      <vt:lpstr>Wingdings 3</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2</cp:revision>
  <cp:lastPrinted>2024-09-17T13:37:47Z</cp:lastPrinted>
  <dcterms:created xsi:type="dcterms:W3CDTF">2024-06-17T14:42:21Z</dcterms:created>
  <dcterms:modified xsi:type="dcterms:W3CDTF">2024-12-02T13:0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